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030701-E7D2-A53E-5A4B-0EB6B601F0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16BFE9E-C76D-FBF3-2B69-8ABA2B922C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6BFE9E-C76D-FBF3-2B69-8ABA2B922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A40925-4F90-1BDC-84A8-6A4DE4878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DD66B78-A908-1186-7164-F122BF4FE55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0_20200729_183313">
            <a:extLst>
              <a:ext uri="{FF2B5EF4-FFF2-40B4-BE49-F238E27FC236}">
                <a16:creationId xmlns:a16="http://schemas.microsoft.com/office/drawing/2014/main" id="{76DD52D0-E4D3-DB77-9BB9-7B29408626CC}"/>
              </a:ext>
            </a:extLst>
          </p:cNvPr>
          <p:cNvSpPr/>
          <p:nvPr/>
        </p:nvSpPr>
        <p:spPr bwMode="auto">
          <a:xfrm>
            <a:off x="0" y="2882956"/>
            <a:ext cx="3054509" cy="191635"/>
          </a:xfrm>
          <a:prstGeom prst="rect">
            <a:avLst/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Shape1_20200729_183313">
            <a:extLst>
              <a:ext uri="{FF2B5EF4-FFF2-40B4-BE49-F238E27FC236}">
                <a16:creationId xmlns:a16="http://schemas.microsoft.com/office/drawing/2014/main" id="{D54785D3-EE7D-B43D-B86A-76B24BE38C95}"/>
              </a:ext>
            </a:extLst>
          </p:cNvPr>
          <p:cNvSpPr/>
          <p:nvPr/>
        </p:nvSpPr>
        <p:spPr bwMode="auto">
          <a:xfrm>
            <a:off x="2446969" y="2711926"/>
            <a:ext cx="595534" cy="173090"/>
          </a:xfrm>
          <a:prstGeom prst="triangle">
            <a:avLst/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Shape2_20200729_183313">
            <a:extLst>
              <a:ext uri="{FF2B5EF4-FFF2-40B4-BE49-F238E27FC236}">
                <a16:creationId xmlns:a16="http://schemas.microsoft.com/office/drawing/2014/main" id="{F79580D6-7C1E-E928-DE4D-5A73DF1DD73E}"/>
              </a:ext>
            </a:extLst>
          </p:cNvPr>
          <p:cNvSpPr/>
          <p:nvPr/>
        </p:nvSpPr>
        <p:spPr bwMode="auto">
          <a:xfrm rot="16200000">
            <a:off x="2560313" y="2349251"/>
            <a:ext cx="368846" cy="595534"/>
          </a:xfrm>
          <a:prstGeom prst="chevron">
            <a:avLst>
              <a:gd name="adj" fmla="val 51744"/>
            </a:avLst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Shape3_20200729_183313">
            <a:extLst>
              <a:ext uri="{FF2B5EF4-FFF2-40B4-BE49-F238E27FC236}">
                <a16:creationId xmlns:a16="http://schemas.microsoft.com/office/drawing/2014/main" id="{AD2A9630-3766-95D1-E235-FD79BD6DB1D7}"/>
              </a:ext>
            </a:extLst>
          </p:cNvPr>
          <p:cNvSpPr/>
          <p:nvPr/>
        </p:nvSpPr>
        <p:spPr bwMode="auto">
          <a:xfrm rot="16200000">
            <a:off x="2554236" y="2098688"/>
            <a:ext cx="381000" cy="595534"/>
          </a:xfrm>
          <a:prstGeom prst="chevron">
            <a:avLst>
              <a:gd name="adj" fmla="val 49284"/>
            </a:avLst>
          </a:pr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Shape4_20200729_183313">
            <a:extLst>
              <a:ext uri="{FF2B5EF4-FFF2-40B4-BE49-F238E27FC236}">
                <a16:creationId xmlns:a16="http://schemas.microsoft.com/office/drawing/2014/main" id="{ED5B0D6D-8344-98FB-B7AB-02CE3C2FCB84}"/>
              </a:ext>
            </a:extLst>
          </p:cNvPr>
          <p:cNvSpPr/>
          <p:nvPr/>
        </p:nvSpPr>
        <p:spPr bwMode="auto">
          <a:xfrm>
            <a:off x="3040870" y="2392895"/>
            <a:ext cx="3054509" cy="191635"/>
          </a:xfrm>
          <a:prstGeom prst="rect">
            <a:avLst/>
          </a:prstGeom>
          <a:solidFill>
            <a:schemeClr val="accent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9" name="Shape5_20200729_183313">
            <a:extLst>
              <a:ext uri="{FF2B5EF4-FFF2-40B4-BE49-F238E27FC236}">
                <a16:creationId xmlns:a16="http://schemas.microsoft.com/office/drawing/2014/main" id="{C8FDEB00-9A22-B178-66F3-A5BB95CCF7FD}"/>
              </a:ext>
            </a:extLst>
          </p:cNvPr>
          <p:cNvGrpSpPr/>
          <p:nvPr/>
        </p:nvGrpSpPr>
        <p:grpSpPr>
          <a:xfrm>
            <a:off x="5499845" y="1717005"/>
            <a:ext cx="595534" cy="679061"/>
            <a:chOff x="4728647" y="2486025"/>
            <a:chExt cx="511028" cy="679061"/>
          </a:xfrm>
          <a:solidFill>
            <a:schemeClr val="accent2">
              <a:alpha val="81000"/>
            </a:schemeClr>
          </a:solidFill>
        </p:grpSpPr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D353FC5E-78D8-616D-4016-6A1AE8AA4FA6}"/>
                </a:ext>
              </a:extLst>
            </p:cNvPr>
            <p:cNvSpPr/>
            <p:nvPr/>
          </p:nvSpPr>
          <p:spPr bwMode="auto">
            <a:xfrm>
              <a:off x="4728647" y="2991996"/>
              <a:ext cx="511028" cy="17309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3A4E8478-D4D9-ABCE-3581-773D357E95D3}"/>
                </a:ext>
              </a:extLst>
            </p:cNvPr>
            <p:cNvSpPr/>
            <p:nvPr/>
          </p:nvSpPr>
          <p:spPr bwMode="auto">
            <a:xfrm rot="16200000">
              <a:off x="4799738" y="2671574"/>
              <a:ext cx="368846" cy="511028"/>
            </a:xfrm>
            <a:prstGeom prst="chevron">
              <a:avLst>
                <a:gd name="adj" fmla="val 517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36CF7BEA-D305-16B3-0888-27120A147F7A}"/>
                </a:ext>
              </a:extLst>
            </p:cNvPr>
            <p:cNvSpPr/>
            <p:nvPr/>
          </p:nvSpPr>
          <p:spPr bwMode="auto">
            <a:xfrm rot="16200000">
              <a:off x="4793661" y="2421011"/>
              <a:ext cx="381000" cy="511028"/>
            </a:xfrm>
            <a:prstGeom prst="chevron">
              <a:avLst>
                <a:gd name="adj" fmla="val 4928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3" name="Shape6_20200729_183313">
            <a:extLst>
              <a:ext uri="{FF2B5EF4-FFF2-40B4-BE49-F238E27FC236}">
                <a16:creationId xmlns:a16="http://schemas.microsoft.com/office/drawing/2014/main" id="{3A4D0C25-A22C-8B85-0389-BC605D4F73A1}"/>
              </a:ext>
            </a:extLst>
          </p:cNvPr>
          <p:cNvSpPr/>
          <p:nvPr/>
        </p:nvSpPr>
        <p:spPr bwMode="auto">
          <a:xfrm>
            <a:off x="6088137" y="1901940"/>
            <a:ext cx="3054509" cy="191635"/>
          </a:xfrm>
          <a:prstGeom prst="rect">
            <a:avLst/>
          </a:prstGeom>
          <a:solidFill>
            <a:schemeClr val="accent4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4" name="Shape7_20200729_183313">
            <a:extLst>
              <a:ext uri="{FF2B5EF4-FFF2-40B4-BE49-F238E27FC236}">
                <a16:creationId xmlns:a16="http://schemas.microsoft.com/office/drawing/2014/main" id="{B61BAFA6-6276-BBBF-2F04-A28CAB799E34}"/>
              </a:ext>
            </a:extLst>
          </p:cNvPr>
          <p:cNvGrpSpPr/>
          <p:nvPr/>
        </p:nvGrpSpPr>
        <p:grpSpPr>
          <a:xfrm>
            <a:off x="8547112" y="1226050"/>
            <a:ext cx="595534" cy="679061"/>
            <a:chOff x="4728647" y="2486025"/>
            <a:chExt cx="511028" cy="679061"/>
          </a:xfrm>
          <a:solidFill>
            <a:schemeClr val="accent4">
              <a:alpha val="81000"/>
            </a:schemeClr>
          </a:solidFill>
        </p:grpSpPr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678293A6-AD1E-3D75-7681-6A67AF3D1CFA}"/>
                </a:ext>
              </a:extLst>
            </p:cNvPr>
            <p:cNvSpPr/>
            <p:nvPr/>
          </p:nvSpPr>
          <p:spPr bwMode="auto">
            <a:xfrm>
              <a:off x="4728647" y="2991996"/>
              <a:ext cx="511028" cy="17309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2B9EA124-225B-A92C-B0FF-F660DCD27707}"/>
                </a:ext>
              </a:extLst>
            </p:cNvPr>
            <p:cNvSpPr/>
            <p:nvPr/>
          </p:nvSpPr>
          <p:spPr bwMode="auto">
            <a:xfrm rot="16200000">
              <a:off x="4799738" y="2671574"/>
              <a:ext cx="368846" cy="511028"/>
            </a:xfrm>
            <a:prstGeom prst="chevron">
              <a:avLst>
                <a:gd name="adj" fmla="val 517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7" name="Arrow: Chevron 16">
              <a:extLst>
                <a:ext uri="{FF2B5EF4-FFF2-40B4-BE49-F238E27FC236}">
                  <a16:creationId xmlns:a16="http://schemas.microsoft.com/office/drawing/2014/main" id="{24BB481A-E2A2-E232-3970-FED4A0DC9EBB}"/>
                </a:ext>
              </a:extLst>
            </p:cNvPr>
            <p:cNvSpPr/>
            <p:nvPr/>
          </p:nvSpPr>
          <p:spPr bwMode="auto">
            <a:xfrm rot="16200000">
              <a:off x="4793661" y="2421011"/>
              <a:ext cx="381000" cy="511028"/>
            </a:xfrm>
            <a:prstGeom prst="chevron">
              <a:avLst>
                <a:gd name="adj" fmla="val 4928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8" name="Shape8_20200729_183313">
            <a:extLst>
              <a:ext uri="{FF2B5EF4-FFF2-40B4-BE49-F238E27FC236}">
                <a16:creationId xmlns:a16="http://schemas.microsoft.com/office/drawing/2014/main" id="{497934C7-6C60-0535-42A2-E999D36D31C5}"/>
              </a:ext>
            </a:extLst>
          </p:cNvPr>
          <p:cNvSpPr/>
          <p:nvPr/>
        </p:nvSpPr>
        <p:spPr bwMode="auto">
          <a:xfrm>
            <a:off x="9137491" y="1411176"/>
            <a:ext cx="3054509" cy="191635"/>
          </a:xfrm>
          <a:prstGeom prst="rect">
            <a:avLst/>
          </a:prstGeom>
          <a:solidFill>
            <a:schemeClr val="accent6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F576F4-86DE-23C7-E8A3-7824F23DE975}"/>
              </a:ext>
            </a:extLst>
          </p:cNvPr>
          <p:cNvSpPr>
            <a:spLocks/>
          </p:cNvSpPr>
          <p:nvPr/>
        </p:nvSpPr>
        <p:spPr>
          <a:xfrm>
            <a:off x="4358386" y="2047021"/>
            <a:ext cx="41947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08921D-7D70-3BA1-1680-D111AD24C4D2}"/>
              </a:ext>
            </a:extLst>
          </p:cNvPr>
          <p:cNvSpPr>
            <a:spLocks/>
          </p:cNvSpPr>
          <p:nvPr/>
        </p:nvSpPr>
        <p:spPr>
          <a:xfrm>
            <a:off x="7405654" y="1549716"/>
            <a:ext cx="41947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1976A0F-0C81-1D78-BC9C-44362AF1352C}"/>
              </a:ext>
            </a:extLst>
          </p:cNvPr>
          <p:cNvSpPr>
            <a:spLocks/>
          </p:cNvSpPr>
          <p:nvPr/>
        </p:nvSpPr>
        <p:spPr>
          <a:xfrm>
            <a:off x="1317517" y="2496200"/>
            <a:ext cx="419474" cy="246221"/>
          </a:xfrm>
          <a:custGeom>
            <a:avLst/>
            <a:gdLst>
              <a:gd name="connsiteX0" fmla="*/ 0 w 3016822"/>
              <a:gd name="connsiteY0" fmla="*/ 0 h 344721"/>
              <a:gd name="connsiteX1" fmla="*/ 3016822 w 3016822"/>
              <a:gd name="connsiteY1" fmla="*/ 0 h 344721"/>
              <a:gd name="connsiteX2" fmla="*/ 2841752 w 3016822"/>
              <a:gd name="connsiteY2" fmla="*/ 344721 h 344721"/>
              <a:gd name="connsiteX3" fmla="*/ 0 w 3016822"/>
              <a:gd name="connsiteY3" fmla="*/ 344721 h 34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6822" h="344721">
                <a:moveTo>
                  <a:pt x="0" y="0"/>
                </a:moveTo>
                <a:lnTo>
                  <a:pt x="3016822" y="0"/>
                </a:lnTo>
                <a:lnTo>
                  <a:pt x="2841752" y="344721"/>
                </a:lnTo>
                <a:lnTo>
                  <a:pt x="0" y="344721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C6F4AB1-94E5-5128-C8D3-4A2C7E6D72D8}"/>
              </a:ext>
            </a:extLst>
          </p:cNvPr>
          <p:cNvSpPr>
            <a:spLocks/>
          </p:cNvSpPr>
          <p:nvPr/>
        </p:nvSpPr>
        <p:spPr>
          <a:xfrm>
            <a:off x="10455008" y="1036368"/>
            <a:ext cx="41947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itle</a:t>
            </a: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D796F30-46DA-97F8-A628-4EADFD455F71}"/>
              </a:ext>
            </a:extLst>
          </p:cNvPr>
          <p:cNvSpPr/>
          <p:nvPr/>
        </p:nvSpPr>
        <p:spPr>
          <a:xfrm>
            <a:off x="144810" y="3471312"/>
            <a:ext cx="266255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82634D6-268A-FD5E-0D8B-3CECD8290673}"/>
              </a:ext>
            </a:extLst>
          </p:cNvPr>
          <p:cNvSpPr/>
          <p:nvPr/>
        </p:nvSpPr>
        <p:spPr>
          <a:xfrm>
            <a:off x="3144682" y="3038176"/>
            <a:ext cx="283902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BC702D-97D2-C49D-55ED-F97C70B1BECA}"/>
              </a:ext>
            </a:extLst>
          </p:cNvPr>
          <p:cNvSpPr/>
          <p:nvPr/>
        </p:nvSpPr>
        <p:spPr>
          <a:xfrm>
            <a:off x="6240379" y="2540870"/>
            <a:ext cx="27432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5B02DE4-1A37-5747-A276-8E999159464B}"/>
              </a:ext>
            </a:extLst>
          </p:cNvPr>
          <p:cNvSpPr/>
          <p:nvPr/>
        </p:nvSpPr>
        <p:spPr>
          <a:xfrm>
            <a:off x="9256726" y="2043565"/>
            <a:ext cx="27427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554" marR="0" lvl="0" indent="-228554" algn="l" defTabSz="6094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 Light" pitchFamily="2" charset="0"/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CAE4BFF-B844-A7DB-F21A-C2D6742315BD}"/>
              </a:ext>
            </a:extLst>
          </p:cNvPr>
          <p:cNvCxnSpPr>
            <a:cxnSpLocks/>
          </p:cNvCxnSpPr>
          <p:nvPr/>
        </p:nvCxnSpPr>
        <p:spPr>
          <a:xfrm>
            <a:off x="3043843" y="3139059"/>
            <a:ext cx="0" cy="2328572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5364F72-8619-A52C-8877-ED5D08757B81}"/>
              </a:ext>
            </a:extLst>
          </p:cNvPr>
          <p:cNvCxnSpPr>
            <a:cxnSpLocks/>
          </p:cNvCxnSpPr>
          <p:nvPr/>
        </p:nvCxnSpPr>
        <p:spPr>
          <a:xfrm>
            <a:off x="9133899" y="2172055"/>
            <a:ext cx="0" cy="3295576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3815276-7D20-57EC-0069-346F842D0307}"/>
              </a:ext>
            </a:extLst>
          </p:cNvPr>
          <p:cNvCxnSpPr>
            <a:cxnSpLocks/>
          </p:cNvCxnSpPr>
          <p:nvPr/>
        </p:nvCxnSpPr>
        <p:spPr>
          <a:xfrm>
            <a:off x="6080248" y="2669207"/>
            <a:ext cx="0" cy="2798424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hape9_20200729_183313">
            <a:extLst>
              <a:ext uri="{FF2B5EF4-FFF2-40B4-BE49-F238E27FC236}">
                <a16:creationId xmlns:a16="http://schemas.microsoft.com/office/drawing/2014/main" id="{1C8FBC74-5C89-3510-F323-2F263EF1F0BC}"/>
              </a:ext>
            </a:extLst>
          </p:cNvPr>
          <p:cNvSpPr/>
          <p:nvPr/>
        </p:nvSpPr>
        <p:spPr bwMode="auto">
          <a:xfrm>
            <a:off x="0" y="5442619"/>
            <a:ext cx="12192000" cy="668023"/>
          </a:xfrm>
          <a:prstGeom prst="rect">
            <a:avLst/>
          </a:prstGeom>
          <a:solidFill>
            <a:schemeClr val="accent5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0D0DB1D-FAB6-67B1-714D-08097614B790}"/>
              </a:ext>
            </a:extLst>
          </p:cNvPr>
          <p:cNvCxnSpPr>
            <a:cxnSpLocks/>
          </p:cNvCxnSpPr>
          <p:nvPr/>
        </p:nvCxnSpPr>
        <p:spPr>
          <a:xfrm>
            <a:off x="3043843" y="5492073"/>
            <a:ext cx="0" cy="569115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A3AB23-C72F-71DA-6EB3-F9F5DB8A6FC3}"/>
              </a:ext>
            </a:extLst>
          </p:cNvPr>
          <p:cNvCxnSpPr>
            <a:cxnSpLocks/>
          </p:cNvCxnSpPr>
          <p:nvPr/>
        </p:nvCxnSpPr>
        <p:spPr>
          <a:xfrm>
            <a:off x="9133899" y="5492073"/>
            <a:ext cx="0" cy="569115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88EB0CF-0679-ACC3-D44A-9418FF79BC58}"/>
              </a:ext>
            </a:extLst>
          </p:cNvPr>
          <p:cNvCxnSpPr>
            <a:cxnSpLocks/>
          </p:cNvCxnSpPr>
          <p:nvPr/>
        </p:nvCxnSpPr>
        <p:spPr>
          <a:xfrm>
            <a:off x="6080248" y="5492073"/>
            <a:ext cx="0" cy="569115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3C491E7B-69EC-6556-7590-0F47790182F9}"/>
              </a:ext>
            </a:extLst>
          </p:cNvPr>
          <p:cNvSpPr>
            <a:spLocks/>
          </p:cNvSpPr>
          <p:nvPr/>
        </p:nvSpPr>
        <p:spPr>
          <a:xfrm>
            <a:off x="3793821" y="5651911"/>
            <a:ext cx="15364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304859-3B8C-C9C9-A819-7FEBFE04EF7B}"/>
              </a:ext>
            </a:extLst>
          </p:cNvPr>
          <p:cNvSpPr>
            <a:spLocks/>
          </p:cNvSpPr>
          <p:nvPr/>
        </p:nvSpPr>
        <p:spPr>
          <a:xfrm>
            <a:off x="6838849" y="5651911"/>
            <a:ext cx="15364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8B5510E-68EC-0B23-B065-38A3AA81C56F}"/>
              </a:ext>
            </a:extLst>
          </p:cNvPr>
          <p:cNvSpPr>
            <a:spLocks/>
          </p:cNvSpPr>
          <p:nvPr/>
        </p:nvSpPr>
        <p:spPr>
          <a:xfrm>
            <a:off x="759030" y="5651911"/>
            <a:ext cx="1536446" cy="246221"/>
          </a:xfrm>
          <a:custGeom>
            <a:avLst/>
            <a:gdLst>
              <a:gd name="connsiteX0" fmla="*/ 0 w 3016822"/>
              <a:gd name="connsiteY0" fmla="*/ 0 h 344721"/>
              <a:gd name="connsiteX1" fmla="*/ 3016822 w 3016822"/>
              <a:gd name="connsiteY1" fmla="*/ 0 h 344721"/>
              <a:gd name="connsiteX2" fmla="*/ 2841752 w 3016822"/>
              <a:gd name="connsiteY2" fmla="*/ 344721 h 344721"/>
              <a:gd name="connsiteX3" fmla="*/ 0 w 3016822"/>
              <a:gd name="connsiteY3" fmla="*/ 344721 h 34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6822" h="344721">
                <a:moveTo>
                  <a:pt x="0" y="0"/>
                </a:moveTo>
                <a:lnTo>
                  <a:pt x="3016822" y="0"/>
                </a:lnTo>
                <a:lnTo>
                  <a:pt x="2841752" y="344721"/>
                </a:lnTo>
                <a:lnTo>
                  <a:pt x="0" y="344721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5EF3D72-27BE-67DC-76FB-887D563CCCDE}"/>
              </a:ext>
            </a:extLst>
          </p:cNvPr>
          <p:cNvSpPr>
            <a:spLocks/>
          </p:cNvSpPr>
          <p:nvPr/>
        </p:nvSpPr>
        <p:spPr>
          <a:xfrm>
            <a:off x="9859887" y="5651911"/>
            <a:ext cx="15364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sert Text Her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4485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2</TotalTime>
  <Words>31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Roboto Light</vt:lpstr>
      <vt:lpstr>Wingdings</vt:lpstr>
      <vt:lpstr>Office Theme</vt:lpstr>
      <vt:lpstr>think-cell Slide</vt:lpstr>
      <vt:lpstr>Next Step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38</cp:revision>
  <dcterms:created xsi:type="dcterms:W3CDTF">2021-03-31T02:49:57Z</dcterms:created>
  <dcterms:modified xsi:type="dcterms:W3CDTF">2025-10-16T11:37:39Z</dcterms:modified>
  <cp:category/>
</cp:coreProperties>
</file>